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527" r:id="rId2"/>
    <p:sldId id="535" r:id="rId3"/>
    <p:sldId id="538" r:id="rId4"/>
    <p:sldId id="539" r:id="rId5"/>
    <p:sldId id="391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CF33541-5E58-43C3-A2D8-8288F878A3DB}">
          <p14:sldIdLst>
            <p14:sldId id="527"/>
            <p14:sldId id="535"/>
            <p14:sldId id="538"/>
            <p14:sldId id="539"/>
            <p14:sldId id="39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bhishek Hendi" initials="AH" lastIdx="9" clrIdx="0">
    <p:extLst>
      <p:ext uri="{19B8F6BF-5375-455C-9EA6-DF929625EA0E}">
        <p15:presenceInfo xmlns:p15="http://schemas.microsoft.com/office/powerpoint/2012/main" userId="S-1-5-21-1886802353-511055125-320618023-89959" providerId="AD"/>
      </p:ext>
    </p:extLst>
  </p:cmAuthor>
  <p:cmAuthor id="2" name="Hendi, Abhishek" initials="HA" lastIdx="1" clrIdx="1">
    <p:extLst>
      <p:ext uri="{19B8F6BF-5375-455C-9EA6-DF929625EA0E}">
        <p15:presenceInfo xmlns:p15="http://schemas.microsoft.com/office/powerpoint/2012/main" userId="S::hendi@upenn.edu::547bffa3-bcd6-478e-b926-a03c5324ff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487C"/>
    <a:srgbClr val="B1B6AF"/>
    <a:srgbClr val="D9D7D0"/>
    <a:srgbClr val="FF9ED3"/>
    <a:srgbClr val="AFAFAF"/>
    <a:srgbClr val="04ABFD"/>
    <a:srgbClr val="C509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F3566CC-9FAF-4FD3-871D-6B59AF505734}" v="3" dt="2022-08-10T12:05:06.234"/>
    <p1510:client id="{B4DE62EF-73DF-447E-9CA5-72D56BF94DA4}" v="1" dt="2022-08-19T19:16:10.75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44" autoAdjust="0"/>
    <p:restoredTop sz="82041"/>
  </p:normalViewPr>
  <p:slideViewPr>
    <p:cSldViewPr snapToGrid="0">
      <p:cViewPr varScale="1">
        <p:scale>
          <a:sx n="92" d="100"/>
          <a:sy n="92" d="100"/>
        </p:scale>
        <p:origin x="87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5" d="100"/>
          <a:sy n="55" d="100"/>
        </p:scale>
        <p:origin x="202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FAB296-C70E-40F1-B507-D2D143AD6EBF}" type="datetimeFigureOut">
              <a:rPr lang="en-US" smtClean="0"/>
              <a:t>1/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9078BF-40EC-41E1-9B62-3081DB1209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0158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D2892C-D9C7-4A81-A07C-60131499A005}" type="datetimeFigureOut">
              <a:rPr lang="en-US" smtClean="0"/>
              <a:t>1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1A37F7-1A90-4E51-A507-1AEFE7B69E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5549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8ADE0E-12BD-4DC4-8CFC-B74AF52C7FB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9907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1A37F7-1A90-4E51-A507-1AEFE7B69E0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0190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1A37F7-1A90-4E51-A507-1AEFE7B69E0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03895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8ADE0E-12BD-4DC4-8CFC-B74AF52C7FBB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0889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5672" y="3896000"/>
            <a:ext cx="9144000" cy="646331"/>
          </a:xfrm>
        </p:spPr>
        <p:txBody>
          <a:bodyPr anchor="b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5672" y="4550000"/>
            <a:ext cx="9144000" cy="544444"/>
          </a:xfrm>
        </p:spPr>
        <p:txBody>
          <a:bodyPr lIns="0" rIns="0">
            <a:spAutoFit/>
          </a:bodyPr>
          <a:lstStyle>
            <a:lvl1pPr marL="0" indent="0" algn="l">
              <a:buNone/>
              <a:defRPr sz="2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Freeform 8"/>
          <p:cNvSpPr/>
          <p:nvPr userDrawn="1"/>
        </p:nvSpPr>
        <p:spPr>
          <a:xfrm rot="5400000" flipV="1">
            <a:off x="5669239" y="334235"/>
            <a:ext cx="3262179" cy="9783338"/>
          </a:xfrm>
          <a:custGeom>
            <a:avLst/>
            <a:gdLst>
              <a:gd name="connsiteX0" fmla="*/ 4713115 w 4713115"/>
              <a:gd name="connsiteY0" fmla="*/ 9144002 h 9144002"/>
              <a:gd name="connsiteX1" fmla="*/ 4713115 w 4713115"/>
              <a:gd name="connsiteY1" fmla="*/ 0 h 9144002"/>
              <a:gd name="connsiteX2" fmla="*/ 3053915 w 4713115"/>
              <a:gd name="connsiteY2" fmla="*/ 0 h 9144002"/>
              <a:gd name="connsiteX3" fmla="*/ 0 w 4713115"/>
              <a:gd name="connsiteY3" fmla="*/ 9144002 h 9144002"/>
              <a:gd name="connsiteX0" fmla="*/ 2914983 w 4713115"/>
              <a:gd name="connsiteY0" fmla="*/ 9127277 h 9144002"/>
              <a:gd name="connsiteX1" fmla="*/ 4713115 w 4713115"/>
              <a:gd name="connsiteY1" fmla="*/ 0 h 9144002"/>
              <a:gd name="connsiteX2" fmla="*/ 3053915 w 4713115"/>
              <a:gd name="connsiteY2" fmla="*/ 0 h 9144002"/>
              <a:gd name="connsiteX3" fmla="*/ 0 w 4713115"/>
              <a:gd name="connsiteY3" fmla="*/ 9144002 h 9144002"/>
              <a:gd name="connsiteX4" fmla="*/ 2914983 w 4713115"/>
              <a:gd name="connsiteY4" fmla="*/ 9127277 h 9144002"/>
              <a:gd name="connsiteX0" fmla="*/ 2914983 w 3065524"/>
              <a:gd name="connsiteY0" fmla="*/ 9144004 h 9160729"/>
              <a:gd name="connsiteX1" fmla="*/ 3065524 w 3065524"/>
              <a:gd name="connsiteY1" fmla="*/ 0 h 9160729"/>
              <a:gd name="connsiteX2" fmla="*/ 3053915 w 3065524"/>
              <a:gd name="connsiteY2" fmla="*/ 16727 h 9160729"/>
              <a:gd name="connsiteX3" fmla="*/ 0 w 3065524"/>
              <a:gd name="connsiteY3" fmla="*/ 9160729 h 9160729"/>
              <a:gd name="connsiteX4" fmla="*/ 2914983 w 3065524"/>
              <a:gd name="connsiteY4" fmla="*/ 9144004 h 9160729"/>
              <a:gd name="connsiteX0" fmla="*/ 2914983 w 3065524"/>
              <a:gd name="connsiteY0" fmla="*/ 9144004 h 9160729"/>
              <a:gd name="connsiteX1" fmla="*/ 3065524 w 3065524"/>
              <a:gd name="connsiteY1" fmla="*/ 0 h 9160729"/>
              <a:gd name="connsiteX2" fmla="*/ 2142302 w 3065524"/>
              <a:gd name="connsiteY2" fmla="*/ 2726474 h 9160729"/>
              <a:gd name="connsiteX3" fmla="*/ 0 w 3065524"/>
              <a:gd name="connsiteY3" fmla="*/ 9160729 h 9160729"/>
              <a:gd name="connsiteX4" fmla="*/ 2914983 w 3065524"/>
              <a:gd name="connsiteY4" fmla="*/ 9144004 h 9160729"/>
              <a:gd name="connsiteX0" fmla="*/ 2914983 w 2914983"/>
              <a:gd name="connsiteY0" fmla="*/ 7320779 h 7337504"/>
              <a:gd name="connsiteX1" fmla="*/ 2446631 w 2914983"/>
              <a:gd name="connsiteY1" fmla="*/ 0 h 7337504"/>
              <a:gd name="connsiteX2" fmla="*/ 2142302 w 2914983"/>
              <a:gd name="connsiteY2" fmla="*/ 903249 h 7337504"/>
              <a:gd name="connsiteX3" fmla="*/ 0 w 2914983"/>
              <a:gd name="connsiteY3" fmla="*/ 7337504 h 7337504"/>
              <a:gd name="connsiteX4" fmla="*/ 2914983 w 2914983"/>
              <a:gd name="connsiteY4" fmla="*/ 7320779 h 7337504"/>
              <a:gd name="connsiteX0" fmla="*/ 2505176 w 2505176"/>
              <a:gd name="connsiteY0" fmla="*/ 7320779 h 7337504"/>
              <a:gd name="connsiteX1" fmla="*/ 2446631 w 2505176"/>
              <a:gd name="connsiteY1" fmla="*/ 0 h 7337504"/>
              <a:gd name="connsiteX2" fmla="*/ 2142302 w 2505176"/>
              <a:gd name="connsiteY2" fmla="*/ 903249 h 7337504"/>
              <a:gd name="connsiteX3" fmla="*/ 0 w 2505176"/>
              <a:gd name="connsiteY3" fmla="*/ 7337504 h 7337504"/>
              <a:gd name="connsiteX4" fmla="*/ 2505176 w 2505176"/>
              <a:gd name="connsiteY4" fmla="*/ 7320779 h 7337504"/>
              <a:gd name="connsiteX0" fmla="*/ 2446634 w 2446634"/>
              <a:gd name="connsiteY0" fmla="*/ 7304054 h 7337504"/>
              <a:gd name="connsiteX1" fmla="*/ 2446631 w 2446634"/>
              <a:gd name="connsiteY1" fmla="*/ 0 h 7337504"/>
              <a:gd name="connsiteX2" fmla="*/ 2142302 w 2446634"/>
              <a:gd name="connsiteY2" fmla="*/ 903249 h 7337504"/>
              <a:gd name="connsiteX3" fmla="*/ 0 w 2446634"/>
              <a:gd name="connsiteY3" fmla="*/ 7337504 h 7337504"/>
              <a:gd name="connsiteX4" fmla="*/ 2446634 w 2446634"/>
              <a:gd name="connsiteY4" fmla="*/ 7304054 h 7337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6634" h="7337504">
                <a:moveTo>
                  <a:pt x="2446634" y="7304054"/>
                </a:moveTo>
                <a:cubicBezTo>
                  <a:pt x="2446633" y="4869369"/>
                  <a:pt x="2446632" y="2434685"/>
                  <a:pt x="2446631" y="0"/>
                </a:cubicBezTo>
                <a:lnTo>
                  <a:pt x="2142302" y="903249"/>
                </a:lnTo>
                <a:lnTo>
                  <a:pt x="0" y="7337504"/>
                </a:lnTo>
                <a:lnTo>
                  <a:pt x="2446634" y="7304054"/>
                </a:lnTo>
                <a:close/>
              </a:path>
            </a:pathLst>
          </a:cu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575672" y="5337129"/>
            <a:ext cx="9144000" cy="509691"/>
          </a:xfrm>
        </p:spPr>
        <p:txBody>
          <a:bodyPr lIns="0" rIns="0">
            <a:spAutoFit/>
          </a:bodyPr>
          <a:lstStyle>
            <a:lvl1pPr>
              <a:defRPr>
                <a:solidFill>
                  <a:schemeClr val="accent4"/>
                </a:solidFill>
                <a:latin typeface="Garamond" panose="02020404030301010803" pitchFamily="18" charset="0"/>
              </a:defRPr>
            </a:lvl1pPr>
            <a:lvl2pPr>
              <a:defRPr>
                <a:solidFill>
                  <a:schemeClr val="accent4"/>
                </a:solidFill>
                <a:latin typeface="Garamond" panose="02020404030301010803" pitchFamily="18" charset="0"/>
              </a:defRPr>
            </a:lvl2pPr>
            <a:lvl3pPr>
              <a:defRPr>
                <a:solidFill>
                  <a:schemeClr val="accent4"/>
                </a:solidFill>
                <a:latin typeface="Garamond" panose="02020404030301010803" pitchFamily="18" charset="0"/>
              </a:defRPr>
            </a:lvl3pPr>
            <a:lvl4pPr>
              <a:defRPr>
                <a:solidFill>
                  <a:schemeClr val="accent4"/>
                </a:solidFill>
                <a:latin typeface="Garamond" panose="02020404030301010803" pitchFamily="18" charset="0"/>
              </a:defRPr>
            </a:lvl4pPr>
            <a:lvl5pPr>
              <a:defRPr>
                <a:solidFill>
                  <a:schemeClr val="accent4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Freeform 7"/>
          <p:cNvSpPr/>
          <p:nvPr userDrawn="1"/>
        </p:nvSpPr>
        <p:spPr>
          <a:xfrm flipV="1">
            <a:off x="10409503" y="-1"/>
            <a:ext cx="1782495" cy="5337130"/>
          </a:xfrm>
          <a:custGeom>
            <a:avLst/>
            <a:gdLst>
              <a:gd name="connsiteX0" fmla="*/ 0 w 1573014"/>
              <a:gd name="connsiteY0" fmla="*/ 4709905 h 4709905"/>
              <a:gd name="connsiteX1" fmla="*/ 1573014 w 1573014"/>
              <a:gd name="connsiteY1" fmla="*/ 4709905 h 4709905"/>
              <a:gd name="connsiteX2" fmla="*/ 1573014 w 1573014"/>
              <a:gd name="connsiteY2" fmla="*/ 0 h 4709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3014" h="4709905">
                <a:moveTo>
                  <a:pt x="0" y="4709905"/>
                </a:moveTo>
                <a:lnTo>
                  <a:pt x="1573014" y="4709905"/>
                </a:lnTo>
                <a:lnTo>
                  <a:pt x="1573014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312" y="554100"/>
            <a:ext cx="2641600" cy="649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728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BA Pre-Term Tech Sess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solidFill>
            <a:schemeClr val="accent1">
              <a:alpha val="85000"/>
            </a:schemeClr>
          </a:solidFill>
        </p:spPr>
        <p:txBody>
          <a:bodyPr lIns="274320" tIns="274320" rIns="274320" bIns="274320"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7312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BA Pre-Term Tech Sess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49765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an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BA Pre-Term Tech Sess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7"/>
          <p:cNvSpPr/>
          <p:nvPr userDrawn="1"/>
        </p:nvSpPr>
        <p:spPr>
          <a:xfrm rot="10800000" flipV="1">
            <a:off x="0" y="2122400"/>
            <a:ext cx="1463201" cy="4381103"/>
          </a:xfrm>
          <a:custGeom>
            <a:avLst/>
            <a:gdLst>
              <a:gd name="connsiteX0" fmla="*/ 1463201 w 1463201"/>
              <a:gd name="connsiteY0" fmla="*/ 0 h 4381103"/>
              <a:gd name="connsiteX1" fmla="*/ 0 w 1463201"/>
              <a:gd name="connsiteY1" fmla="*/ 4381103 h 4381103"/>
              <a:gd name="connsiteX2" fmla="*/ 1463201 w 1463201"/>
              <a:gd name="connsiteY2" fmla="*/ 4381103 h 438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63201" h="4381103">
                <a:moveTo>
                  <a:pt x="1463201" y="0"/>
                </a:moveTo>
                <a:lnTo>
                  <a:pt x="0" y="4381103"/>
                </a:lnTo>
                <a:lnTo>
                  <a:pt x="1463201" y="4381103"/>
                </a:lnTo>
                <a:close/>
              </a:path>
            </a:pathLst>
          </a:custGeom>
          <a:solidFill>
            <a:srgbClr val="0000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0" name="Freeform 9"/>
          <p:cNvSpPr/>
          <p:nvPr userDrawn="1"/>
        </p:nvSpPr>
        <p:spPr>
          <a:xfrm rot="5400000" flipV="1">
            <a:off x="3910865" y="-1777629"/>
            <a:ext cx="4370271" cy="12191998"/>
          </a:xfrm>
          <a:custGeom>
            <a:avLst/>
            <a:gdLst>
              <a:gd name="connsiteX0" fmla="*/ 0 w 3277705"/>
              <a:gd name="connsiteY0" fmla="*/ 9144003 h 9144003"/>
              <a:gd name="connsiteX1" fmla="*/ 3277705 w 3277705"/>
              <a:gd name="connsiteY1" fmla="*/ 9144003 h 9144003"/>
              <a:gd name="connsiteX2" fmla="*/ 3277704 w 3277705"/>
              <a:gd name="connsiteY2" fmla="*/ 0 h 9144003"/>
              <a:gd name="connsiteX3" fmla="*/ 3053915 w 3277705"/>
              <a:gd name="connsiteY3" fmla="*/ 0 h 914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77705" h="9144003">
                <a:moveTo>
                  <a:pt x="0" y="9144003"/>
                </a:moveTo>
                <a:lnTo>
                  <a:pt x="3277705" y="9144003"/>
                </a:lnTo>
                <a:lnTo>
                  <a:pt x="3277704" y="0"/>
                </a:lnTo>
                <a:lnTo>
                  <a:pt x="3053915" y="0"/>
                </a:lnTo>
                <a:close/>
              </a:path>
            </a:pathLst>
          </a:custGeom>
          <a:solidFill>
            <a:srgbClr val="000000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1266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ground Only: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 userDrawn="1"/>
        </p:nvSpPr>
        <p:spPr>
          <a:xfrm rot="16200000" flipV="1">
            <a:off x="3766429" y="-3766429"/>
            <a:ext cx="4659141" cy="12191999"/>
          </a:xfrm>
          <a:custGeom>
            <a:avLst/>
            <a:gdLst>
              <a:gd name="connsiteX0" fmla="*/ 0 w 4659141"/>
              <a:gd name="connsiteY0" fmla="*/ 12191999 h 12191999"/>
              <a:gd name="connsiteX1" fmla="*/ 4659141 w 4659141"/>
              <a:gd name="connsiteY1" fmla="*/ 12191999 h 12191999"/>
              <a:gd name="connsiteX2" fmla="*/ 4659141 w 4659141"/>
              <a:gd name="connsiteY2" fmla="*/ 0 h 12191999"/>
              <a:gd name="connsiteX3" fmla="*/ 4071885 w 4659141"/>
              <a:gd name="connsiteY3" fmla="*/ 0 h 12191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59141" h="12191999">
                <a:moveTo>
                  <a:pt x="0" y="12191999"/>
                </a:moveTo>
                <a:lnTo>
                  <a:pt x="4659141" y="12191999"/>
                </a:lnTo>
                <a:lnTo>
                  <a:pt x="4659141" y="0"/>
                </a:lnTo>
                <a:lnTo>
                  <a:pt x="4071885" y="0"/>
                </a:lnTo>
                <a:close/>
              </a:path>
            </a:pathLst>
          </a:cu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5" name="Freeform 4"/>
          <p:cNvSpPr/>
          <p:nvPr userDrawn="1"/>
        </p:nvSpPr>
        <p:spPr>
          <a:xfrm flipV="1">
            <a:off x="10618986" y="0"/>
            <a:ext cx="1573014" cy="4709905"/>
          </a:xfrm>
          <a:custGeom>
            <a:avLst/>
            <a:gdLst>
              <a:gd name="connsiteX0" fmla="*/ 0 w 1573014"/>
              <a:gd name="connsiteY0" fmla="*/ 4709905 h 4709905"/>
              <a:gd name="connsiteX1" fmla="*/ 1573014 w 1573014"/>
              <a:gd name="connsiteY1" fmla="*/ 4709905 h 4709905"/>
              <a:gd name="connsiteX2" fmla="*/ 1573014 w 1573014"/>
              <a:gd name="connsiteY2" fmla="*/ 0 h 4709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3014" h="4709905">
                <a:moveTo>
                  <a:pt x="0" y="4709905"/>
                </a:moveTo>
                <a:lnTo>
                  <a:pt x="1573014" y="4709905"/>
                </a:lnTo>
                <a:lnTo>
                  <a:pt x="1573014" y="0"/>
                </a:lnTo>
                <a:close/>
              </a:path>
            </a:pathLst>
          </a:cu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5499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5672" y="3896000"/>
            <a:ext cx="9144000" cy="646331"/>
          </a:xfrm>
        </p:spPr>
        <p:txBody>
          <a:bodyPr anchor="b"/>
          <a:lstStyle>
            <a:lvl1pPr algn="l"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5672" y="4550000"/>
            <a:ext cx="9144000" cy="544444"/>
          </a:xfrm>
        </p:spPr>
        <p:txBody>
          <a:bodyPr lIns="0" rIns="0">
            <a:spAutoFit/>
          </a:bodyPr>
          <a:lstStyle>
            <a:lvl1pPr marL="0" indent="0" algn="l">
              <a:buNone/>
              <a:defRPr sz="26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Freeform 8"/>
          <p:cNvSpPr/>
          <p:nvPr userDrawn="1"/>
        </p:nvSpPr>
        <p:spPr>
          <a:xfrm rot="5400000" flipV="1">
            <a:off x="5669239" y="334235"/>
            <a:ext cx="3262179" cy="9783338"/>
          </a:xfrm>
          <a:custGeom>
            <a:avLst/>
            <a:gdLst>
              <a:gd name="connsiteX0" fmla="*/ 4713115 w 4713115"/>
              <a:gd name="connsiteY0" fmla="*/ 9144002 h 9144002"/>
              <a:gd name="connsiteX1" fmla="*/ 4713115 w 4713115"/>
              <a:gd name="connsiteY1" fmla="*/ 0 h 9144002"/>
              <a:gd name="connsiteX2" fmla="*/ 3053915 w 4713115"/>
              <a:gd name="connsiteY2" fmla="*/ 0 h 9144002"/>
              <a:gd name="connsiteX3" fmla="*/ 0 w 4713115"/>
              <a:gd name="connsiteY3" fmla="*/ 9144002 h 9144002"/>
              <a:gd name="connsiteX0" fmla="*/ 2914983 w 4713115"/>
              <a:gd name="connsiteY0" fmla="*/ 9127277 h 9144002"/>
              <a:gd name="connsiteX1" fmla="*/ 4713115 w 4713115"/>
              <a:gd name="connsiteY1" fmla="*/ 0 h 9144002"/>
              <a:gd name="connsiteX2" fmla="*/ 3053915 w 4713115"/>
              <a:gd name="connsiteY2" fmla="*/ 0 h 9144002"/>
              <a:gd name="connsiteX3" fmla="*/ 0 w 4713115"/>
              <a:gd name="connsiteY3" fmla="*/ 9144002 h 9144002"/>
              <a:gd name="connsiteX4" fmla="*/ 2914983 w 4713115"/>
              <a:gd name="connsiteY4" fmla="*/ 9127277 h 9144002"/>
              <a:gd name="connsiteX0" fmla="*/ 2914983 w 3065524"/>
              <a:gd name="connsiteY0" fmla="*/ 9144004 h 9160729"/>
              <a:gd name="connsiteX1" fmla="*/ 3065524 w 3065524"/>
              <a:gd name="connsiteY1" fmla="*/ 0 h 9160729"/>
              <a:gd name="connsiteX2" fmla="*/ 3053915 w 3065524"/>
              <a:gd name="connsiteY2" fmla="*/ 16727 h 9160729"/>
              <a:gd name="connsiteX3" fmla="*/ 0 w 3065524"/>
              <a:gd name="connsiteY3" fmla="*/ 9160729 h 9160729"/>
              <a:gd name="connsiteX4" fmla="*/ 2914983 w 3065524"/>
              <a:gd name="connsiteY4" fmla="*/ 9144004 h 9160729"/>
              <a:gd name="connsiteX0" fmla="*/ 2914983 w 3065524"/>
              <a:gd name="connsiteY0" fmla="*/ 9144004 h 9160729"/>
              <a:gd name="connsiteX1" fmla="*/ 3065524 w 3065524"/>
              <a:gd name="connsiteY1" fmla="*/ 0 h 9160729"/>
              <a:gd name="connsiteX2" fmla="*/ 2142302 w 3065524"/>
              <a:gd name="connsiteY2" fmla="*/ 2726474 h 9160729"/>
              <a:gd name="connsiteX3" fmla="*/ 0 w 3065524"/>
              <a:gd name="connsiteY3" fmla="*/ 9160729 h 9160729"/>
              <a:gd name="connsiteX4" fmla="*/ 2914983 w 3065524"/>
              <a:gd name="connsiteY4" fmla="*/ 9144004 h 9160729"/>
              <a:gd name="connsiteX0" fmla="*/ 2914983 w 2914983"/>
              <a:gd name="connsiteY0" fmla="*/ 7320779 h 7337504"/>
              <a:gd name="connsiteX1" fmla="*/ 2446631 w 2914983"/>
              <a:gd name="connsiteY1" fmla="*/ 0 h 7337504"/>
              <a:gd name="connsiteX2" fmla="*/ 2142302 w 2914983"/>
              <a:gd name="connsiteY2" fmla="*/ 903249 h 7337504"/>
              <a:gd name="connsiteX3" fmla="*/ 0 w 2914983"/>
              <a:gd name="connsiteY3" fmla="*/ 7337504 h 7337504"/>
              <a:gd name="connsiteX4" fmla="*/ 2914983 w 2914983"/>
              <a:gd name="connsiteY4" fmla="*/ 7320779 h 7337504"/>
              <a:gd name="connsiteX0" fmla="*/ 2505176 w 2505176"/>
              <a:gd name="connsiteY0" fmla="*/ 7320779 h 7337504"/>
              <a:gd name="connsiteX1" fmla="*/ 2446631 w 2505176"/>
              <a:gd name="connsiteY1" fmla="*/ 0 h 7337504"/>
              <a:gd name="connsiteX2" fmla="*/ 2142302 w 2505176"/>
              <a:gd name="connsiteY2" fmla="*/ 903249 h 7337504"/>
              <a:gd name="connsiteX3" fmla="*/ 0 w 2505176"/>
              <a:gd name="connsiteY3" fmla="*/ 7337504 h 7337504"/>
              <a:gd name="connsiteX4" fmla="*/ 2505176 w 2505176"/>
              <a:gd name="connsiteY4" fmla="*/ 7320779 h 7337504"/>
              <a:gd name="connsiteX0" fmla="*/ 2446634 w 2446634"/>
              <a:gd name="connsiteY0" fmla="*/ 7304054 h 7337504"/>
              <a:gd name="connsiteX1" fmla="*/ 2446631 w 2446634"/>
              <a:gd name="connsiteY1" fmla="*/ 0 h 7337504"/>
              <a:gd name="connsiteX2" fmla="*/ 2142302 w 2446634"/>
              <a:gd name="connsiteY2" fmla="*/ 903249 h 7337504"/>
              <a:gd name="connsiteX3" fmla="*/ 0 w 2446634"/>
              <a:gd name="connsiteY3" fmla="*/ 7337504 h 7337504"/>
              <a:gd name="connsiteX4" fmla="*/ 2446634 w 2446634"/>
              <a:gd name="connsiteY4" fmla="*/ 7304054 h 7337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6634" h="7337504">
                <a:moveTo>
                  <a:pt x="2446634" y="7304054"/>
                </a:moveTo>
                <a:cubicBezTo>
                  <a:pt x="2446633" y="4869369"/>
                  <a:pt x="2446632" y="2434685"/>
                  <a:pt x="2446631" y="0"/>
                </a:cubicBezTo>
                <a:lnTo>
                  <a:pt x="2142302" y="903249"/>
                </a:lnTo>
                <a:lnTo>
                  <a:pt x="0" y="7337504"/>
                </a:lnTo>
                <a:lnTo>
                  <a:pt x="2446634" y="7304054"/>
                </a:lnTo>
                <a:close/>
              </a:path>
            </a:pathLst>
          </a:cu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575672" y="5337129"/>
            <a:ext cx="9144000" cy="509691"/>
          </a:xfrm>
        </p:spPr>
        <p:txBody>
          <a:bodyPr lIns="0" rIns="0">
            <a:spAutoFit/>
          </a:bodyPr>
          <a:lstStyle>
            <a:lvl1pPr>
              <a:defRPr>
                <a:solidFill>
                  <a:schemeClr val="accent4"/>
                </a:solidFill>
                <a:latin typeface="Garamond" panose="02020404030301010803" pitchFamily="18" charset="0"/>
              </a:defRPr>
            </a:lvl1pPr>
            <a:lvl2pPr>
              <a:defRPr>
                <a:solidFill>
                  <a:schemeClr val="accent4"/>
                </a:solidFill>
                <a:latin typeface="Garamond" panose="02020404030301010803" pitchFamily="18" charset="0"/>
              </a:defRPr>
            </a:lvl2pPr>
            <a:lvl3pPr>
              <a:defRPr>
                <a:solidFill>
                  <a:schemeClr val="accent4"/>
                </a:solidFill>
                <a:latin typeface="Garamond" panose="02020404030301010803" pitchFamily="18" charset="0"/>
              </a:defRPr>
            </a:lvl3pPr>
            <a:lvl4pPr>
              <a:defRPr>
                <a:solidFill>
                  <a:schemeClr val="accent4"/>
                </a:solidFill>
                <a:latin typeface="Garamond" panose="02020404030301010803" pitchFamily="18" charset="0"/>
              </a:defRPr>
            </a:lvl4pPr>
            <a:lvl5pPr>
              <a:defRPr>
                <a:solidFill>
                  <a:schemeClr val="accent4"/>
                </a:solidFill>
                <a:latin typeface="Garamond" panose="02020404030301010803" pitchFamily="18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Freeform 7"/>
          <p:cNvSpPr/>
          <p:nvPr userDrawn="1"/>
        </p:nvSpPr>
        <p:spPr>
          <a:xfrm flipV="1">
            <a:off x="10409503" y="-1"/>
            <a:ext cx="1782495" cy="5337130"/>
          </a:xfrm>
          <a:custGeom>
            <a:avLst/>
            <a:gdLst>
              <a:gd name="connsiteX0" fmla="*/ 0 w 1573014"/>
              <a:gd name="connsiteY0" fmla="*/ 4709905 h 4709905"/>
              <a:gd name="connsiteX1" fmla="*/ 1573014 w 1573014"/>
              <a:gd name="connsiteY1" fmla="*/ 4709905 h 4709905"/>
              <a:gd name="connsiteX2" fmla="*/ 1573014 w 1573014"/>
              <a:gd name="connsiteY2" fmla="*/ 0 h 4709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3014" h="4709905">
                <a:moveTo>
                  <a:pt x="0" y="4709905"/>
                </a:moveTo>
                <a:lnTo>
                  <a:pt x="1573014" y="4709905"/>
                </a:lnTo>
                <a:lnTo>
                  <a:pt x="1573014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312" y="554100"/>
            <a:ext cx="2641600" cy="649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7281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BA Pre-Term Tech Sess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1604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: Emphasi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6503504"/>
            <a:ext cx="12192000" cy="384735"/>
          </a:xfrm>
          <a:prstGeom prst="rect">
            <a:avLst/>
          </a:prstGeom>
          <a:solidFill>
            <a:srgbClr val="003D7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002C77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>
          <a:xfrm>
            <a:off x="0" y="6503504"/>
            <a:ext cx="1600200" cy="384735"/>
          </a:xfrm>
          <a:custGeom>
            <a:avLst/>
            <a:gdLst>
              <a:gd name="connsiteX0" fmla="*/ 0 w 1600200"/>
              <a:gd name="connsiteY0" fmla="*/ 0 h 384735"/>
              <a:gd name="connsiteX1" fmla="*/ 1472137 w 1600200"/>
              <a:gd name="connsiteY1" fmla="*/ 0 h 384735"/>
              <a:gd name="connsiteX2" fmla="*/ 1600200 w 1600200"/>
              <a:gd name="connsiteY2" fmla="*/ 384735 h 384735"/>
              <a:gd name="connsiteX3" fmla="*/ 0 w 1600200"/>
              <a:gd name="connsiteY3" fmla="*/ 384735 h 384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0200" h="384735">
                <a:moveTo>
                  <a:pt x="0" y="0"/>
                </a:moveTo>
                <a:lnTo>
                  <a:pt x="1472137" y="0"/>
                </a:lnTo>
                <a:lnTo>
                  <a:pt x="1600200" y="384735"/>
                </a:lnTo>
                <a:lnTo>
                  <a:pt x="0" y="384735"/>
                </a:lnTo>
                <a:close/>
              </a:path>
            </a:pathLst>
          </a:custGeom>
          <a:solidFill>
            <a:srgbClr val="00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BA Pre-Term Tech Sess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2402" y="6595711"/>
            <a:ext cx="914444" cy="173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571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4026944"/>
            <a:ext cx="10515600" cy="535531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Freeform 9"/>
          <p:cNvSpPr/>
          <p:nvPr userDrawn="1"/>
        </p:nvSpPr>
        <p:spPr>
          <a:xfrm rot="10800000" flipH="1">
            <a:off x="9377707" y="0"/>
            <a:ext cx="2814298" cy="6858000"/>
          </a:xfrm>
          <a:custGeom>
            <a:avLst/>
            <a:gdLst>
              <a:gd name="connsiteX0" fmla="*/ 0 w 2814298"/>
              <a:gd name="connsiteY0" fmla="*/ 6858000 h 6858000"/>
              <a:gd name="connsiteX1" fmla="*/ 2814298 w 2814298"/>
              <a:gd name="connsiteY1" fmla="*/ 6858000 h 6858000"/>
              <a:gd name="connsiteX2" fmla="*/ 2814298 w 2814298"/>
              <a:gd name="connsiteY2" fmla="*/ 0 h 6858000"/>
              <a:gd name="connsiteX3" fmla="*/ 2290436 w 2814298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4298" h="6858000">
                <a:moveTo>
                  <a:pt x="0" y="6858000"/>
                </a:moveTo>
                <a:lnTo>
                  <a:pt x="2814298" y="6858000"/>
                </a:lnTo>
                <a:lnTo>
                  <a:pt x="2814298" y="0"/>
                </a:lnTo>
                <a:lnTo>
                  <a:pt x="2290436" y="0"/>
                </a:lnTo>
                <a:close/>
              </a:path>
            </a:pathLst>
          </a:cu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" name="Freeform 5"/>
          <p:cNvSpPr/>
          <p:nvPr userDrawn="1"/>
        </p:nvSpPr>
        <p:spPr>
          <a:xfrm rot="5400000" flipV="1">
            <a:off x="7922680" y="2588676"/>
            <a:ext cx="2137767" cy="6400882"/>
          </a:xfrm>
          <a:custGeom>
            <a:avLst/>
            <a:gdLst>
              <a:gd name="connsiteX0" fmla="*/ 0 w 1573014"/>
              <a:gd name="connsiteY0" fmla="*/ 4709905 h 4709905"/>
              <a:gd name="connsiteX1" fmla="*/ 1573014 w 1573014"/>
              <a:gd name="connsiteY1" fmla="*/ 4709905 h 4709905"/>
              <a:gd name="connsiteX2" fmla="*/ 1573014 w 1573014"/>
              <a:gd name="connsiteY2" fmla="*/ 0 h 4709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73014" h="4709905">
                <a:moveTo>
                  <a:pt x="0" y="4709905"/>
                </a:moveTo>
                <a:lnTo>
                  <a:pt x="1573014" y="4709905"/>
                </a:lnTo>
                <a:lnTo>
                  <a:pt x="1573014" y="0"/>
                </a:lnTo>
                <a:close/>
              </a:path>
            </a:pathLst>
          </a:custGeom>
          <a:solidFill>
            <a:srgbClr val="00000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310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0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0">
                <a:solidFill>
                  <a:schemeClr val="accent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BA Pre-Term Tech Session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0200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1189470"/>
            <a:ext cx="3932237" cy="867930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BA Pre-Term Tech Sess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8240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BA Pre-Term Tech Sess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3172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365125"/>
            <a:ext cx="10515600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MBA Pre-Term Tech Sess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253308-F9C5-4FCB-8415-6DEE77C16A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9437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33305AA-7478-4BF9-8A6B-AD0CC808BD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04765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74" imgH="74" progId="TCLayout.ActiveDocument.1">
                  <p:embed/>
                </p:oleObj>
              </mc:Choice>
              <mc:Fallback>
                <p:oleObj name="think-cell Slide" r:id="rId17" imgW="74" imgH="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503504"/>
            <a:ext cx="12192000" cy="38473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solidFill>
                <a:srgbClr val="002C77"/>
              </a:solidFill>
            </a:endParaRPr>
          </a:p>
        </p:txBody>
      </p:sp>
      <p:sp>
        <p:nvSpPr>
          <p:cNvPr id="10" name="Freeform 9"/>
          <p:cNvSpPr/>
          <p:nvPr userDrawn="1"/>
        </p:nvSpPr>
        <p:spPr>
          <a:xfrm>
            <a:off x="0" y="6503504"/>
            <a:ext cx="1600200" cy="384735"/>
          </a:xfrm>
          <a:custGeom>
            <a:avLst/>
            <a:gdLst>
              <a:gd name="connsiteX0" fmla="*/ 0 w 1600200"/>
              <a:gd name="connsiteY0" fmla="*/ 0 h 384735"/>
              <a:gd name="connsiteX1" fmla="*/ 1472137 w 1600200"/>
              <a:gd name="connsiteY1" fmla="*/ 0 h 384735"/>
              <a:gd name="connsiteX2" fmla="*/ 1600200 w 1600200"/>
              <a:gd name="connsiteY2" fmla="*/ 384735 h 384735"/>
              <a:gd name="connsiteX3" fmla="*/ 0 w 1600200"/>
              <a:gd name="connsiteY3" fmla="*/ 384735 h 384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0200" h="384735">
                <a:moveTo>
                  <a:pt x="0" y="0"/>
                </a:moveTo>
                <a:lnTo>
                  <a:pt x="1472137" y="0"/>
                </a:lnTo>
                <a:lnTo>
                  <a:pt x="1600200" y="384735"/>
                </a:lnTo>
                <a:lnTo>
                  <a:pt x="0" y="384735"/>
                </a:lnTo>
                <a:close/>
              </a:path>
            </a:pathLst>
          </a:custGeom>
          <a:solidFill>
            <a:srgbClr val="00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52402" y="6595711"/>
            <a:ext cx="914444" cy="17309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0131"/>
          </a:xfrm>
          <a:prstGeom prst="rect">
            <a:avLst/>
          </a:prstGeom>
        </p:spPr>
        <p:txBody>
          <a:bodyPr vert="horz" lIns="0" tIns="45720" rIns="0" bIns="4572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10108"/>
            <a:ext cx="10515600" cy="43513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28904" y="651330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AFAFAF"/>
                </a:solidFill>
              </a:defRPr>
            </a:lvl1pPr>
          </a:lstStyle>
          <a:p>
            <a:r>
              <a:rPr lang="en-US"/>
              <a:t>MBA Pre-Term Tech Sess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00504" y="612629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rgbClr val="AFAFAF"/>
                </a:solidFill>
              </a:defRPr>
            </a:lvl1pPr>
          </a:lstStyle>
          <a:p>
            <a:fld id="{DD253308-F9C5-4FCB-8415-6DEE77C16A3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037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49" r:id="rId2"/>
    <p:sldLayoutId id="2147483650" r:id="rId3"/>
    <p:sldLayoutId id="2147483658" r:id="rId4"/>
    <p:sldLayoutId id="2147483651" r:id="rId5"/>
    <p:sldLayoutId id="2147483653" r:id="rId6"/>
    <p:sldLayoutId id="2147483656" r:id="rId7"/>
    <p:sldLayoutId id="2147483654" r:id="rId8"/>
    <p:sldLayoutId id="2147483662" r:id="rId9"/>
    <p:sldLayoutId id="2147483663" r:id="rId10"/>
    <p:sldLayoutId id="2147483655" r:id="rId11"/>
    <p:sldLayoutId id="2147483659" r:id="rId12"/>
    <p:sldLayoutId id="2147483661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C5093B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3000"/>
        </a:lnSpc>
        <a:spcBef>
          <a:spcPts val="800"/>
        </a:spcBef>
        <a:spcAft>
          <a:spcPts val="200"/>
        </a:spcAft>
        <a:buFont typeface="Arial" panose="020B0604020202020204" pitchFamily="34" charset="0"/>
        <a:buNone/>
        <a:defRPr sz="2200" kern="12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113000"/>
        </a:lnSpc>
        <a:spcBef>
          <a:spcPts val="800"/>
        </a:spcBef>
        <a:spcAft>
          <a:spcPts val="2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113000"/>
        </a:lnSpc>
        <a:spcBef>
          <a:spcPts val="800"/>
        </a:spcBef>
        <a:spcAft>
          <a:spcPts val="2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113000"/>
        </a:lnSpc>
        <a:spcBef>
          <a:spcPts val="800"/>
        </a:spcBef>
        <a:spcAft>
          <a:spcPts val="2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113000"/>
        </a:lnSpc>
        <a:spcBef>
          <a:spcPts val="800"/>
        </a:spcBef>
        <a:spcAft>
          <a:spcPts val="2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support.wharton.upenn.edu/help/wharton-attendance-absence-and-video-requests-module-for-students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jpe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sv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838200" y="3065173"/>
            <a:ext cx="10515600" cy="2059006"/>
          </a:xfrm>
        </p:spPr>
        <p:txBody>
          <a:bodyPr>
            <a:normAutofit fontScale="90000"/>
          </a:bodyPr>
          <a:lstStyle/>
          <a:p>
            <a:r>
              <a:rPr lang="en-US" sz="4400" dirty="0"/>
              <a:t>Wharton Attendance and Course Video Requests</a:t>
            </a:r>
            <a:br>
              <a:rPr lang="en-US" sz="4400" dirty="0"/>
            </a:br>
            <a:br>
              <a:rPr lang="en-US" sz="4400" dirty="0"/>
            </a:br>
            <a:r>
              <a:rPr lang="en-US" sz="2800" dirty="0">
                <a:hlinkClick r:id="rId3"/>
              </a:rPr>
              <a:t>https://support.wharton.upenn.edu/help/wharton-attendance-absence-and-video-requests-module-for-students</a:t>
            </a:r>
            <a:r>
              <a:rPr lang="en-US" sz="2800" dirty="0"/>
              <a:t> 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117116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6962569-0155-4B23-970C-5CA2513DE7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74" imgH="74" progId="TCLayout.ActiveDocument.1">
                  <p:embed/>
                </p:oleObj>
              </mc:Choice>
              <mc:Fallback>
                <p:oleObj name="think-cell Slide" r:id="rId5" imgW="74" imgH="7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6962569-0155-4B23-970C-5CA2513DE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93FD77-BC7B-C63A-9335-6ABD8CD3DB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456" y="298644"/>
            <a:ext cx="10515600" cy="480131"/>
          </a:xfrm>
        </p:spPr>
        <p:txBody>
          <a:bodyPr vert="horz"/>
          <a:lstStyle/>
          <a:p>
            <a:r>
              <a:rPr lang="en-US" dirty="0"/>
              <a:t>How to Check-In To Cla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969FBE-6198-08F3-5FDF-74FDEB2042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lass Check-In</a:t>
            </a:r>
          </a:p>
        </p:txBody>
      </p:sp>
      <p:pic>
        <p:nvPicPr>
          <p:cNvPr id="8" name="Picture 8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1DA3249B-0D28-380F-6582-E19F45B53B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23103" y="1021126"/>
            <a:ext cx="2299447" cy="4114800"/>
          </a:xfrm>
          <a:prstGeom prst="rect">
            <a:avLst/>
          </a:prstGeom>
        </p:spPr>
      </p:pic>
      <p:pic>
        <p:nvPicPr>
          <p:cNvPr id="9" name="Picture 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7AFD4581-2E1E-11F9-4729-93C1290DEAF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04141" y="1021126"/>
            <a:ext cx="2581455" cy="4114800"/>
          </a:xfrm>
          <a:prstGeom prst="rect">
            <a:avLst/>
          </a:prstGeom>
        </p:spPr>
      </p:pic>
      <p:pic>
        <p:nvPicPr>
          <p:cNvPr id="10" name="Picture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788F5FCF-53C9-9631-6CB6-8FDFCB42128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90871" y="1021126"/>
            <a:ext cx="2048296" cy="4114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3B8342A-53E2-44D9-AEC5-36AA36D3348B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904" y="3657086"/>
            <a:ext cx="2843961" cy="142071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137D94E-09D9-1168-E4D7-F00C2A36B709}"/>
              </a:ext>
            </a:extLst>
          </p:cNvPr>
          <p:cNvSpPr txBox="1"/>
          <p:nvPr/>
        </p:nvSpPr>
        <p:spPr>
          <a:xfrm>
            <a:off x="178639" y="5247266"/>
            <a:ext cx="287422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1) Open the course Canvas site. We recommend connecting to </a:t>
            </a:r>
            <a:r>
              <a:rPr lang="en-US" sz="1600" dirty="0" err="1">
                <a:solidFill>
                  <a:schemeClr val="tx2"/>
                </a:solidFill>
              </a:rPr>
              <a:t>AirPennNet</a:t>
            </a:r>
            <a:r>
              <a:rPr lang="en-US" sz="1600" dirty="0">
                <a:solidFill>
                  <a:schemeClr val="tx2"/>
                </a:solidFill>
              </a:rPr>
              <a:t> and using the Canvas mobile app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245B8FD-978A-7C26-5F40-BB769CB72AFD}"/>
              </a:ext>
            </a:extLst>
          </p:cNvPr>
          <p:cNvSpPr txBox="1"/>
          <p:nvPr/>
        </p:nvSpPr>
        <p:spPr>
          <a:xfrm>
            <a:off x="333357" y="1214322"/>
            <a:ext cx="2375923" cy="1702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dirty="0">
                <a:solidFill>
                  <a:schemeClr val="accent1"/>
                </a:solidFill>
                <a:ea typeface="+mn-lt"/>
                <a:cs typeface="+mn-lt"/>
              </a:rPr>
              <a:t>Check in opens ten minutes before class star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accent1"/>
              </a:solidFill>
              <a:ea typeface="+mn-lt"/>
              <a:cs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7349A76-2788-9DEE-EA1F-4337C9F8E6AC}"/>
              </a:ext>
            </a:extLst>
          </p:cNvPr>
          <p:cNvSpPr txBox="1"/>
          <p:nvPr/>
        </p:nvSpPr>
        <p:spPr>
          <a:xfrm>
            <a:off x="3290870" y="5247266"/>
            <a:ext cx="26334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2) Tap on the </a:t>
            </a:r>
            <a:r>
              <a:rPr lang="en-US" sz="1600" b="1" dirty="0">
                <a:solidFill>
                  <a:schemeClr val="tx2"/>
                </a:solidFill>
              </a:rPr>
              <a:t>Attendance &amp; Video Requests </a:t>
            </a:r>
            <a:r>
              <a:rPr lang="en-US" sz="1600" dirty="0">
                <a:solidFill>
                  <a:schemeClr val="tx2"/>
                </a:solidFill>
              </a:rPr>
              <a:t>ta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27FFAE-C1F3-DE83-9CA0-C3440594690E}"/>
              </a:ext>
            </a:extLst>
          </p:cNvPr>
          <p:cNvSpPr txBox="1"/>
          <p:nvPr/>
        </p:nvSpPr>
        <p:spPr>
          <a:xfrm>
            <a:off x="6023103" y="5247266"/>
            <a:ext cx="21740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3) Tap on the </a:t>
            </a:r>
            <a:r>
              <a:rPr lang="en-US" sz="1600" b="1" dirty="0">
                <a:solidFill>
                  <a:schemeClr val="tx2"/>
                </a:solidFill>
              </a:rPr>
              <a:t>Check In Now </a:t>
            </a:r>
            <a:r>
              <a:rPr lang="en-US" sz="1600" dirty="0">
                <a:solidFill>
                  <a:schemeClr val="tx2"/>
                </a:solidFill>
              </a:rPr>
              <a:t>butt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BCED99F-298E-6D0E-5654-0F99D4F35C7D}"/>
              </a:ext>
            </a:extLst>
          </p:cNvPr>
          <p:cNvSpPr txBox="1"/>
          <p:nvPr/>
        </p:nvSpPr>
        <p:spPr>
          <a:xfrm>
            <a:off x="8904141" y="5250527"/>
            <a:ext cx="25024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4) Once you see green, you’re all checked in!</a:t>
            </a:r>
          </a:p>
        </p:txBody>
      </p:sp>
    </p:spTree>
    <p:extLst>
      <p:ext uri="{BB962C8B-B14F-4D97-AF65-F5344CB8AC3E}">
        <p14:creationId xmlns:p14="http://schemas.microsoft.com/office/powerpoint/2010/main" val="74376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9D4DA-19E3-3854-539C-1A66DA967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80131"/>
          </a:xfrm>
        </p:spPr>
        <p:txBody>
          <a:bodyPr/>
          <a:lstStyle/>
          <a:p>
            <a:r>
              <a:rPr lang="en-US" dirty="0"/>
              <a:t>How to Enter Absence and Video reques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EDF8D7-69E4-C108-67E9-098F8BECCA1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lass Check-In</a:t>
            </a:r>
          </a:p>
        </p:txBody>
      </p:sp>
      <p:pic>
        <p:nvPicPr>
          <p:cNvPr id="10" name="Picture 10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B24797B1-6248-B0B3-7F10-C5A768C4BE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5253" y="2296869"/>
            <a:ext cx="2743200" cy="3822605"/>
          </a:xfrm>
          <a:prstGeom prst="rect">
            <a:avLst/>
          </a:prstGeom>
        </p:spPr>
      </p:pic>
      <p:pic>
        <p:nvPicPr>
          <p:cNvPr id="12" name="Picture 12" descr="Table&#10;&#10;Description automatically generated">
            <a:extLst>
              <a:ext uri="{FF2B5EF4-FFF2-40B4-BE49-F238E27FC236}">
                <a16:creationId xmlns:a16="http://schemas.microsoft.com/office/drawing/2014/main" id="{9C1475BD-CADD-E306-C690-D0DBA36BB8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9828" y="2296869"/>
            <a:ext cx="1900308" cy="4114800"/>
          </a:xfrm>
          <a:prstGeom prst="rect">
            <a:avLst/>
          </a:prstGeom>
        </p:spPr>
      </p:pic>
      <p:pic>
        <p:nvPicPr>
          <p:cNvPr id="13" name="Picture 13" descr="Text&#10;&#10;Description automatically generated">
            <a:extLst>
              <a:ext uri="{FF2B5EF4-FFF2-40B4-BE49-F238E27FC236}">
                <a16:creationId xmlns:a16="http://schemas.microsoft.com/office/drawing/2014/main" id="{68AC5327-0E71-E454-F413-CA39E72367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34095" y="2296869"/>
            <a:ext cx="1515584" cy="4014276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75DE7FB8-180C-139C-A574-6719059D0E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3570" y="2296869"/>
            <a:ext cx="1981165" cy="3936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9E99B38-1FBC-07EB-F0FA-69BD99422654}"/>
              </a:ext>
            </a:extLst>
          </p:cNvPr>
          <p:cNvSpPr txBox="1"/>
          <p:nvPr/>
        </p:nvSpPr>
        <p:spPr>
          <a:xfrm>
            <a:off x="849827" y="965123"/>
            <a:ext cx="101100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1"/>
                </a:solidFill>
                <a:ea typeface="+mn-lt"/>
                <a:cs typeface="+mn-lt"/>
              </a:rPr>
              <a:t>If you do not check-in to a class meeting, you will receive an email at the end of the day prompting you to submit an absence request. You can also do this proactively for future absences.</a:t>
            </a:r>
          </a:p>
        </p:txBody>
      </p:sp>
      <p:pic>
        <p:nvPicPr>
          <p:cNvPr id="11" name="Graphic 10" descr="Badge 4 with solid fill">
            <a:extLst>
              <a:ext uri="{FF2B5EF4-FFF2-40B4-BE49-F238E27FC236}">
                <a16:creationId xmlns:a16="http://schemas.microsoft.com/office/drawing/2014/main" id="{A5273ADD-0ED1-84C6-695A-CE30A5E1163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759423" y="1629885"/>
            <a:ext cx="664927" cy="664927"/>
          </a:xfrm>
          <a:prstGeom prst="rect">
            <a:avLst/>
          </a:prstGeom>
        </p:spPr>
      </p:pic>
      <p:pic>
        <p:nvPicPr>
          <p:cNvPr id="15" name="Graphic 14" descr="Badge 3 with solid fill">
            <a:extLst>
              <a:ext uri="{FF2B5EF4-FFF2-40B4-BE49-F238E27FC236}">
                <a16:creationId xmlns:a16="http://schemas.microsoft.com/office/drawing/2014/main" id="{03EA0575-68D3-D5C3-3EF8-C6CB10FF59A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21688" y="1631940"/>
            <a:ext cx="664927" cy="664927"/>
          </a:xfrm>
          <a:prstGeom prst="rect">
            <a:avLst/>
          </a:prstGeom>
        </p:spPr>
      </p:pic>
      <p:pic>
        <p:nvPicPr>
          <p:cNvPr id="17" name="Graphic 16" descr="Badge with solid fill">
            <a:extLst>
              <a:ext uri="{FF2B5EF4-FFF2-40B4-BE49-F238E27FC236}">
                <a16:creationId xmlns:a16="http://schemas.microsoft.com/office/drawing/2014/main" id="{77FD758B-A07C-5ECD-6F06-E38C894EAD3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074389" y="1629885"/>
            <a:ext cx="664927" cy="664927"/>
          </a:xfrm>
          <a:prstGeom prst="rect">
            <a:avLst/>
          </a:prstGeom>
        </p:spPr>
      </p:pic>
      <p:pic>
        <p:nvPicPr>
          <p:cNvPr id="19" name="Graphic 18" descr="Badge 1 with solid fill">
            <a:extLst>
              <a:ext uri="{FF2B5EF4-FFF2-40B4-BE49-F238E27FC236}">
                <a16:creationId xmlns:a16="http://schemas.microsoft.com/office/drawing/2014/main" id="{52A71EEC-E5A3-C8C9-E509-032FD635BBC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467518" y="1631940"/>
            <a:ext cx="664927" cy="66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435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6DB237-CA7D-ADD6-7270-C3FEE9CC2F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Open the </a:t>
            </a:r>
            <a:r>
              <a:rPr lang="en-US" b="1" dirty="0"/>
              <a:t>Attendance &amp; Video Requests </a:t>
            </a:r>
            <a:r>
              <a:rPr lang="en-US" dirty="0"/>
              <a:t>module for your course in Canvas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lick on either </a:t>
            </a:r>
            <a:r>
              <a:rPr lang="en-US" b="1" dirty="0"/>
              <a:t>Request Absence </a:t>
            </a:r>
            <a:r>
              <a:rPr lang="en-US" dirty="0"/>
              <a:t>or </a:t>
            </a:r>
            <a:r>
              <a:rPr lang="en-US" b="1" dirty="0"/>
              <a:t>Request Video.</a:t>
            </a:r>
            <a:r>
              <a:rPr lang="en-US" dirty="0"/>
              <a:t> This will show up below the check-in options if they are available.</a:t>
            </a:r>
            <a:endParaRPr lang="en-US" b="1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Use the date search to find the class meeting for which you need to make a request. Then tap/click </a:t>
            </a:r>
            <a:r>
              <a:rPr lang="en-US" b="1" dirty="0"/>
              <a:t>Add Meeting.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Select an absence reason and enter any notes in the text box. Then check off </a:t>
            </a:r>
            <a:r>
              <a:rPr lang="en-US" b="1" dirty="0"/>
              <a:t>Absence Request </a:t>
            </a:r>
            <a:r>
              <a:rPr lang="en-US" dirty="0"/>
              <a:t>(and </a:t>
            </a:r>
            <a:r>
              <a:rPr lang="en-US" b="1" dirty="0"/>
              <a:t>Video Request</a:t>
            </a:r>
            <a:r>
              <a:rPr lang="en-US" dirty="0"/>
              <a:t>, if desired) and </a:t>
            </a:r>
            <a:r>
              <a:rPr lang="en-US" b="1" dirty="0"/>
              <a:t>Submit Absence</a:t>
            </a:r>
          </a:p>
          <a:p>
            <a:endParaRPr lang="en-US" sz="2400" dirty="0"/>
          </a:p>
          <a:p>
            <a:r>
              <a:rPr lang="en-US" sz="1800" dirty="0"/>
              <a:t>To view videos once you have been granted access, go to </a:t>
            </a:r>
            <a:r>
              <a:rPr lang="en-US" sz="1800" b="1" dirty="0"/>
              <a:t>Class Recordings</a:t>
            </a:r>
            <a:r>
              <a:rPr lang="en-US" sz="1800" dirty="0"/>
              <a:t> tab in the Canvas site for your course. Videos will be available through the semester.</a:t>
            </a:r>
            <a:endParaRPr lang="en-US" sz="2400" dirty="0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>
              <a:cs typeface="Arial"/>
            </a:endParaRPr>
          </a:p>
          <a:p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36A6CB-FD33-A6F9-E9DD-3D31C74F94E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lass Check-I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2987A06-26A9-4002-8DD5-A7E29678C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Enter Absence and Video request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5242C0D-4050-A408-41B2-3625ED893514}"/>
              </a:ext>
            </a:extLst>
          </p:cNvPr>
          <p:cNvSpPr txBox="1">
            <a:spLocks/>
          </p:cNvSpPr>
          <p:nvPr/>
        </p:nvSpPr>
        <p:spPr>
          <a:xfrm>
            <a:off x="769862" y="5294279"/>
            <a:ext cx="8387925" cy="731838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13000"/>
              </a:lnSpc>
              <a:spcBef>
                <a:spcPts val="800"/>
              </a:spcBef>
              <a:spcAft>
                <a:spcPts val="200"/>
              </a:spcAft>
              <a:buFont typeface="Arial" panose="020B0604020202020204" pitchFamily="34" charset="0"/>
              <a:buNone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3000"/>
              </a:lnSpc>
              <a:spcBef>
                <a:spcPts val="800"/>
              </a:spcBef>
              <a:spcAft>
                <a:spcPts val="2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3000"/>
              </a:lnSpc>
              <a:spcBef>
                <a:spcPts val="800"/>
              </a:spcBef>
              <a:spcAft>
                <a:spcPts val="2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3000"/>
              </a:lnSpc>
              <a:spcBef>
                <a:spcPts val="800"/>
              </a:spcBef>
              <a:spcAft>
                <a:spcPts val="2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3000"/>
              </a:lnSpc>
              <a:spcBef>
                <a:spcPts val="800"/>
              </a:spcBef>
              <a:spcAft>
                <a:spcPts val="2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n-US" sz="14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39805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3133800" y="1381515"/>
            <a:ext cx="6391201" cy="1172347"/>
          </a:xfrm>
        </p:spPr>
        <p:txBody>
          <a:bodyPr>
            <a:normAutofit fontScale="90000"/>
          </a:bodyPr>
          <a:lstStyle/>
          <a:p>
            <a:r>
              <a:rPr lang="en-US" sz="3800" cap="small" spc="600" dirty="0">
                <a:latin typeface="Garamond" panose="02020404030301010803" pitchFamily="18" charset="0"/>
                <a:cs typeface="Whitney Book" pitchFamily="50" charset="0"/>
              </a:rPr>
              <a:t>NEED HELP? Get C</a:t>
            </a:r>
            <a:r>
              <a:rPr lang="en-US" sz="3800" cap="small" spc="600" dirty="0">
                <a:latin typeface="Garamond" panose="02020404030301010803" pitchFamily="18" charset="0"/>
                <a:ea typeface="+mn-ea"/>
                <a:cs typeface="Whitney Book" pitchFamily="50" charset="0"/>
              </a:rPr>
              <a:t>onnected with</a:t>
            </a:r>
            <a:br>
              <a:rPr lang="en-US" sz="3800" cap="small" spc="600" dirty="0">
                <a:latin typeface="Garamond" panose="02020404030301010803" pitchFamily="18" charset="0"/>
                <a:ea typeface="+mn-ea"/>
                <a:cs typeface="Whitney Book" pitchFamily="50" charset="0"/>
              </a:rPr>
            </a:br>
            <a:r>
              <a:rPr lang="en-US" sz="3800" cap="small" spc="600" dirty="0">
                <a:latin typeface="Garamond" panose="02020404030301010803" pitchFamily="18" charset="0"/>
                <a:ea typeface="+mn-ea"/>
                <a:cs typeface="Whitney Book" pitchFamily="50" charset="0"/>
              </a:rPr>
              <a:t>Wharton Comput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657600" y="3168696"/>
            <a:ext cx="2667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SH-DH 114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1BA8273-FA02-BB44-AC47-FFDB50B61FE6}"/>
              </a:ext>
            </a:extLst>
          </p:cNvPr>
          <p:cNvSpPr txBox="1"/>
          <p:nvPr/>
        </p:nvSpPr>
        <p:spPr>
          <a:xfrm>
            <a:off x="3657600" y="4724400"/>
            <a:ext cx="34815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>
                <a:solidFill>
                  <a:schemeClr val="bg1"/>
                </a:solidFill>
              </a:rPr>
              <a:t>support@wharton.upenn.edu</a:t>
            </a:r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3799" y="3168696"/>
            <a:ext cx="384362" cy="38436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3799" y="3973172"/>
            <a:ext cx="365760" cy="36576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655764" y="3946548"/>
            <a:ext cx="2667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215.898.8600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44816" y="4764153"/>
            <a:ext cx="371888" cy="280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27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heme/theme1.xml><?xml version="1.0" encoding="utf-8"?>
<a:theme xmlns:a="http://schemas.openxmlformats.org/drawingml/2006/main" name="Wharton 2016 16:9">
  <a:themeElements>
    <a:clrScheme name="Wharton 2016">
      <a:dk1>
        <a:srgbClr val="2D2C41"/>
      </a:dk1>
      <a:lt1>
        <a:srgbClr val="FFFFFF"/>
      </a:lt1>
      <a:dk2>
        <a:srgbClr val="004785"/>
      </a:dk2>
      <a:lt2>
        <a:srgbClr val="EEEDEA"/>
      </a:lt2>
      <a:accent1>
        <a:srgbClr val="004785"/>
      </a:accent1>
      <a:accent2>
        <a:srgbClr val="A90533"/>
      </a:accent2>
      <a:accent3>
        <a:srgbClr val="026CB5"/>
      </a:accent3>
      <a:accent4>
        <a:srgbClr val="06AAFC"/>
      </a:accent4>
      <a:accent5>
        <a:srgbClr val="96227D"/>
      </a:accent5>
      <a:accent6>
        <a:srgbClr val="D7BC6A"/>
      </a:accent6>
      <a:hlink>
        <a:srgbClr val="06AAFC"/>
      </a:hlink>
      <a:folHlink>
        <a:srgbClr val="06AAFC"/>
      </a:folHlink>
    </a:clrScheme>
    <a:fontScheme name="Whart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_4x3</Template>
  <TotalTime>1697</TotalTime>
  <Words>286</Words>
  <Application>Microsoft Office PowerPoint</Application>
  <PresentationFormat>Widescreen</PresentationFormat>
  <Paragraphs>27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Calibri</vt:lpstr>
      <vt:lpstr>Garamond</vt:lpstr>
      <vt:lpstr>Wharton 2016 16:9</vt:lpstr>
      <vt:lpstr>think-cell Slide</vt:lpstr>
      <vt:lpstr>Wharton Attendance and Course Video Requests  https://support.wharton.upenn.edu/help/wharton-attendance-absence-and-video-requests-module-for-students </vt:lpstr>
      <vt:lpstr>How to Check-In To Class</vt:lpstr>
      <vt:lpstr>How to Enter Absence and Video requests</vt:lpstr>
      <vt:lpstr>How to Enter Absence and Video requests</vt:lpstr>
      <vt:lpstr>NEED HELP? Get Connected with Wharton Comput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hew Byers</dc:creator>
  <cp:lastModifiedBy>Lehman, Jason R</cp:lastModifiedBy>
  <cp:revision>310</cp:revision>
  <dcterms:created xsi:type="dcterms:W3CDTF">2016-03-10T13:41:29Z</dcterms:created>
  <dcterms:modified xsi:type="dcterms:W3CDTF">2023-01-04T19:17:56Z</dcterms:modified>
</cp:coreProperties>
</file>